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3" r:id="rId1"/>
    <p:sldMasterId id="2147483713" r:id="rId2"/>
    <p:sldMasterId id="2147483720" r:id="rId3"/>
  </p:sldMasterIdLst>
  <p:notesMasterIdLst>
    <p:notesMasterId r:id="rId12"/>
  </p:notesMasterIdLst>
  <p:sldIdLst>
    <p:sldId id="304" r:id="rId4"/>
    <p:sldId id="317" r:id="rId5"/>
    <p:sldId id="318" r:id="rId6"/>
    <p:sldId id="319" r:id="rId7"/>
    <p:sldId id="321" r:id="rId8"/>
    <p:sldId id="322" r:id="rId9"/>
    <p:sldId id="320" r:id="rId10"/>
    <p:sldId id="323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Ameh" initials="GA" lastIdx="3" clrIdx="0">
    <p:extLst>
      <p:ext uri="{19B8F6BF-5375-455C-9EA6-DF929625EA0E}">
        <p15:presenceInfo xmlns:p15="http://schemas.microsoft.com/office/powerpoint/2012/main" userId="Grace Ameh" providerId="None"/>
      </p:ext>
    </p:extLst>
  </p:cmAuthor>
  <p:cmAuthor id="2" name="Oluwaleke Jegede" initials="OJ" lastIdx="1" clrIdx="1">
    <p:extLst>
      <p:ext uri="{19B8F6BF-5375-455C-9EA6-DF929625EA0E}">
        <p15:presenceInfo xmlns:p15="http://schemas.microsoft.com/office/powerpoint/2012/main" userId="S-1-5-21-2101598554-5734229-151231457-11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FDF9"/>
    <a:srgbClr val="FF99FF"/>
    <a:srgbClr val="FF5050"/>
    <a:srgbClr val="FF33CC"/>
    <a:srgbClr val="073670"/>
    <a:srgbClr val="F2F2F2"/>
    <a:srgbClr val="DEEBF7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Estilo Médio 2 - Destaqu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68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12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A0AD61-4F24-48AA-8F42-F6E7DAE823ED}" type="datetimeFigureOut">
              <a:rPr lang="en-US" smtClean="0"/>
              <a:t>11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64A62-04CF-41BF-9E71-751A9D78675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057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2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25715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1324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2815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226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512496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2843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139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11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0005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92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367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565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093481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5F7F2-16D9-49B7-B2CE-BD2A835A5B8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7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44C64-1CEA-45F7-A4CF-A565E598417E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4579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84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2004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marL="0" marR="0" lvl="0" indent="0" algn="l" defTabSz="8196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9"/>
            <a:ext cx="5036084" cy="538609"/>
          </a:xfrm>
          <a:prstGeom prst="rect">
            <a:avLst/>
          </a:prstGeom>
        </p:spPr>
        <p:txBody>
          <a:bodyPr lIns="91363" tIns="45681" rIns="91363" bIns="45681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marL="0" marR="0" lvl="0" indent="0" algn="l" defTabSz="91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ern states routine immunization systems strengthening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McK Disclaimer"/>
          <p:cNvSpPr>
            <a:spLocks noChangeArrowheads="1"/>
          </p:cNvSpPr>
          <p:nvPr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81989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i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alth is strictly prohibited</a:t>
            </a:r>
          </a:p>
        </p:txBody>
      </p:sp>
      <p:grpSp>
        <p:nvGrpSpPr>
          <p:cNvPr id="5" name="Group 8"/>
          <p:cNvGrpSpPr>
            <a:grpSpLocks noChangeAspect="1"/>
          </p:cNvGrpSpPr>
          <p:nvPr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27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13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29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grpSp>
            <p:nvGrpSpPr>
              <p:cNvPr id="23" name="Group 29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4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5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4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2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3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charset="0"/>
                  </a:endParaRPr>
                </a:p>
              </p:txBody>
            </p:sp>
          </p:grp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939608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7006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4705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5625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664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1348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1"/>
              <a:ext cx="277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64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5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5" y="0"/>
            <a:ext cx="9140825" cy="6859588"/>
            <a:chOff x="0" y="0"/>
            <a:chExt cx="5643" cy="4235"/>
          </a:xfrm>
        </p:grpSpPr>
        <p:sp>
          <p:nvSpPr>
            <p:cNvPr id="14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5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6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021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7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38609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3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5" name="McK Title Elements"/>
          <p:cNvGrpSpPr>
            <a:grpSpLocks/>
          </p:cNvGrpSpPr>
          <p:nvPr userDrawn="1"/>
        </p:nvGrpSpPr>
        <p:grpSpPr bwMode="auto">
          <a:xfrm>
            <a:off x="10" y="0"/>
            <a:ext cx="9140825" cy="6859588"/>
            <a:chOff x="0" y="0"/>
            <a:chExt cx="5643" cy="4235"/>
          </a:xfrm>
        </p:grpSpPr>
        <p:sp>
          <p:nvSpPr>
            <p:cNvPr id="21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22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23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7"/>
              <a:ext cx="2772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1960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27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73784" y="2285992"/>
            <a:ext cx="3900350" cy="2714644"/>
          </a:xfrm>
          <a:prstGeom prst="rect">
            <a:avLst/>
          </a:prstGeom>
          <a:noFill/>
        </p:spPr>
      </p:pic>
      <p:pic>
        <p:nvPicPr>
          <p:cNvPr id="28" name="Picture 3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6350" y="-3175"/>
            <a:ext cx="91567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Rectangle 2"/>
          <p:cNvSpPr txBox="1">
            <a:spLocks noChangeArrowheads="1"/>
          </p:cNvSpPr>
          <p:nvPr userDrawn="1"/>
        </p:nvSpPr>
        <p:spPr>
          <a:xfrm>
            <a:off x="373040" y="857234"/>
            <a:ext cx="8501094" cy="1015584"/>
          </a:xfrm>
          <a:prstGeom prst="rect">
            <a:avLst/>
          </a:prstGeom>
        </p:spPr>
        <p:txBody>
          <a:bodyPr wrap="square" lIns="0" rIns="107943">
            <a:spAutoFit/>
          </a:bodyPr>
          <a:lstStyle/>
          <a:p>
            <a:pPr defTabSz="9117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3000" b="1" kern="0">
                <a:solidFill>
                  <a:srgbClr val="003300"/>
                </a:solidFill>
              </a:rPr>
              <a:t>Northern states routine immunization systems strengthening</a:t>
            </a:r>
            <a:endParaRPr lang="en-US" sz="3000" b="1" kern="0" dirty="0">
              <a:solidFill>
                <a:srgbClr val="003300"/>
              </a:solidFill>
            </a:endParaRPr>
          </a:p>
        </p:txBody>
      </p:sp>
      <p:sp>
        <p:nvSpPr>
          <p:cNvPr id="30" name="McK Disclaimer"/>
          <p:cNvSpPr>
            <a:spLocks noChangeArrowheads="1"/>
          </p:cNvSpPr>
          <p:nvPr userDrawn="1"/>
        </p:nvSpPr>
        <p:spPr bwMode="auto">
          <a:xfrm>
            <a:off x="373040" y="6401120"/>
            <a:ext cx="5703458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CONFIDENTIAL AND PROPRIETARY</a:t>
            </a:r>
          </a:p>
          <a:p>
            <a:pPr defTabSz="819898" eaLnBrk="0" hangingPunct="0"/>
            <a:r>
              <a:rPr lang="en-US" sz="1000" dirty="0">
                <a:solidFill>
                  <a:srgbClr val="000000"/>
                </a:solidFill>
              </a:rPr>
              <a:t>Any use of this material without specific permission of </a:t>
            </a:r>
            <a:r>
              <a:rPr lang="en-US" sz="1000" dirty="0" err="1">
                <a:solidFill>
                  <a:srgbClr val="000000"/>
                </a:solidFill>
              </a:rPr>
              <a:t>Solina</a:t>
            </a:r>
            <a:r>
              <a:rPr lang="en-US" sz="1000" dirty="0">
                <a:solidFill>
                  <a:srgbClr val="000000"/>
                </a:solidFill>
              </a:rPr>
              <a:t> Health is strictly prohibited</a:t>
            </a:r>
          </a:p>
        </p:txBody>
      </p:sp>
      <p:grpSp>
        <p:nvGrpSpPr>
          <p:cNvPr id="13" name="Group 8"/>
          <p:cNvGrpSpPr>
            <a:grpSpLocks noChangeAspect="1"/>
          </p:cNvGrpSpPr>
          <p:nvPr userDrawn="1"/>
        </p:nvGrpSpPr>
        <p:grpSpPr>
          <a:xfrm>
            <a:off x="8353293" y="6238981"/>
            <a:ext cx="539192" cy="552090"/>
            <a:chOff x="1600200" y="580073"/>
            <a:chExt cx="4419600" cy="4525327"/>
          </a:xfrm>
        </p:grpSpPr>
        <p:pic>
          <p:nvPicPr>
            <p:cNvPr id="32" name="Picture 3" descr="C:\Users\Muyi\Desktop\Solina admin\Solina logo\Solina logo text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/>
            <a:srcRect l="2897" t="11029" r="13087" b="15441"/>
            <a:stretch>
              <a:fillRect/>
            </a:stretch>
          </p:blipFill>
          <p:spPr bwMode="auto">
            <a:xfrm>
              <a:off x="1600200" y="3962400"/>
              <a:ext cx="4419600" cy="1143000"/>
            </a:xfrm>
            <a:prstGeom prst="rect">
              <a:avLst/>
            </a:prstGeom>
            <a:noFill/>
          </p:spPr>
        </p:pic>
        <p:grpSp>
          <p:nvGrpSpPr>
            <p:cNvPr id="20" name="Group 12"/>
            <p:cNvGrpSpPr/>
            <p:nvPr>
              <p:custDataLst>
                <p:tags r:id="rId2"/>
              </p:custDataLst>
            </p:nvPr>
          </p:nvGrpSpPr>
          <p:grpSpPr>
            <a:xfrm>
              <a:off x="1782763" y="580073"/>
              <a:ext cx="4054475" cy="3382327"/>
              <a:chOff x="1751965" y="594360"/>
              <a:chExt cx="4054475" cy="3382327"/>
            </a:xfrm>
          </p:grpSpPr>
          <p:sp>
            <p:nvSpPr>
              <p:cNvPr id="34" name="Rectangle 2"/>
              <p:cNvSpPr>
                <a:spLocks noChangeArrowheads="1"/>
              </p:cNvSpPr>
              <p:nvPr/>
            </p:nvSpPr>
            <p:spPr bwMode="auto">
              <a:xfrm>
                <a:off x="2419350" y="2286000"/>
                <a:ext cx="1692275" cy="1690687"/>
              </a:xfrm>
              <a:prstGeom prst="rect">
                <a:avLst/>
              </a:prstGeom>
              <a:solidFill>
                <a:srgbClr val="FFA21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31" name="Group 34"/>
              <p:cNvGrpSpPr/>
              <p:nvPr/>
            </p:nvGrpSpPr>
            <p:grpSpPr>
              <a:xfrm>
                <a:off x="1751965" y="2674143"/>
                <a:ext cx="914400" cy="914400"/>
                <a:chOff x="1751965" y="2674143"/>
                <a:chExt cx="914400" cy="914400"/>
              </a:xfrm>
            </p:grpSpPr>
            <p:sp>
              <p:nvSpPr>
                <p:cNvPr id="39" name="Rectangle 4"/>
                <p:cNvSpPr>
                  <a:spLocks noChangeArrowheads="1"/>
                </p:cNvSpPr>
                <p:nvPr/>
              </p:nvSpPr>
              <p:spPr bwMode="auto">
                <a:xfrm>
                  <a:off x="1751965" y="2674143"/>
                  <a:ext cx="914400" cy="91440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tangle 5"/>
                <p:cNvSpPr>
                  <a:spLocks noChangeArrowheads="1"/>
                </p:cNvSpPr>
                <p:nvPr/>
              </p:nvSpPr>
              <p:spPr bwMode="auto">
                <a:xfrm>
                  <a:off x="2419350" y="2674143"/>
                  <a:ext cx="247015" cy="914400"/>
                </a:xfrm>
                <a:prstGeom prst="rect">
                  <a:avLst/>
                </a:prstGeom>
                <a:solidFill>
                  <a:srgbClr val="CA600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3" name="Group 9"/>
              <p:cNvGrpSpPr/>
              <p:nvPr/>
            </p:nvGrpSpPr>
            <p:grpSpPr>
              <a:xfrm>
                <a:off x="3264408" y="594360"/>
                <a:ext cx="2542032" cy="2542032"/>
                <a:chOff x="3264408" y="594360"/>
                <a:chExt cx="2542032" cy="2542032"/>
              </a:xfrm>
            </p:grpSpPr>
            <p:sp>
              <p:nvSpPr>
                <p:cNvPr id="37" name="Rectangle 7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594360"/>
                  <a:ext cx="2542032" cy="2542032"/>
                </a:xfrm>
                <a:prstGeom prst="rect">
                  <a:avLst/>
                </a:prstGeom>
                <a:solidFill>
                  <a:srgbClr val="C6DF2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8" name="Rectangle 8" descr="Solina"/>
                <p:cNvSpPr>
                  <a:spLocks noChangeArrowheads="1"/>
                </p:cNvSpPr>
                <p:nvPr/>
              </p:nvSpPr>
              <p:spPr bwMode="auto">
                <a:xfrm>
                  <a:off x="3264408" y="2286000"/>
                  <a:ext cx="850392" cy="850392"/>
                </a:xfrm>
                <a:prstGeom prst="rect">
                  <a:avLst/>
                </a:prstGeom>
                <a:solidFill>
                  <a:srgbClr val="8AAC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</p:grpSp>
      <p:pic>
        <p:nvPicPr>
          <p:cNvPr id="41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58" y="2285992"/>
            <a:ext cx="4286279" cy="153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971113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4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5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9512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36356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6" y="4407330"/>
            <a:ext cx="7771995" cy="1261884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6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165" indent="0">
              <a:buNone/>
              <a:defRPr sz="1800"/>
            </a:lvl2pPr>
            <a:lvl3pPr marL="932333" indent="0">
              <a:buNone/>
              <a:defRPr sz="1600"/>
            </a:lvl3pPr>
            <a:lvl4pPr marL="1398499" indent="0">
              <a:buNone/>
              <a:defRPr sz="1400"/>
            </a:lvl4pPr>
            <a:lvl5pPr marL="1864668" indent="0">
              <a:buNone/>
              <a:defRPr sz="1400"/>
            </a:lvl5pPr>
            <a:lvl6pPr marL="2330834" indent="0">
              <a:buNone/>
              <a:defRPr sz="1400"/>
            </a:lvl6pPr>
            <a:lvl7pPr marL="2796999" indent="0">
              <a:buNone/>
              <a:defRPr sz="1400"/>
            </a:lvl7pPr>
            <a:lvl8pPr marL="3263166" indent="0">
              <a:buNone/>
              <a:defRPr sz="1400"/>
            </a:lvl8pPr>
            <a:lvl9pPr marL="372933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94534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12297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9" y="275357"/>
            <a:ext cx="8230410" cy="314028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9" y="2175322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65" indent="0">
              <a:buNone/>
              <a:defRPr sz="2000" b="1"/>
            </a:lvl2pPr>
            <a:lvl3pPr marL="932333" indent="0">
              <a:buNone/>
              <a:defRPr sz="1800" b="1"/>
            </a:lvl3pPr>
            <a:lvl4pPr marL="1398499" indent="0">
              <a:buNone/>
              <a:defRPr sz="1600" b="1"/>
            </a:lvl4pPr>
            <a:lvl5pPr marL="1864668" indent="0">
              <a:buNone/>
              <a:defRPr sz="1600" b="1"/>
            </a:lvl5pPr>
            <a:lvl6pPr marL="2330834" indent="0">
              <a:buNone/>
              <a:defRPr sz="1600" b="1"/>
            </a:lvl6pPr>
            <a:lvl7pPr marL="2796999" indent="0">
              <a:buNone/>
              <a:defRPr sz="1600" b="1"/>
            </a:lvl7pPr>
            <a:lvl8pPr marL="3263166" indent="0">
              <a:buNone/>
              <a:defRPr sz="1600" b="1"/>
            </a:lvl8pPr>
            <a:lvl9pPr marL="372933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22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61532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29340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095983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73741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90414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3"/>
            <a:ext cx="5486400" cy="314028"/>
          </a:xfrm>
          <a:prstGeom prst="rect">
            <a:avLst/>
          </a:prstGeom>
        </p:spPr>
        <p:txBody>
          <a:bodyPr lIns="91430" tIns="45716" rIns="91430" bIns="45716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165" indent="0">
              <a:buNone/>
              <a:defRPr sz="2900"/>
            </a:lvl2pPr>
            <a:lvl3pPr marL="932333" indent="0">
              <a:buNone/>
              <a:defRPr sz="2400"/>
            </a:lvl3pPr>
            <a:lvl4pPr marL="1398499" indent="0">
              <a:buNone/>
              <a:defRPr sz="2000"/>
            </a:lvl4pPr>
            <a:lvl5pPr marL="1864668" indent="0">
              <a:buNone/>
              <a:defRPr sz="2000"/>
            </a:lvl5pPr>
            <a:lvl6pPr marL="2330834" indent="0">
              <a:buNone/>
              <a:defRPr sz="2000"/>
            </a:lvl6pPr>
            <a:lvl7pPr marL="2796999" indent="0">
              <a:buNone/>
              <a:defRPr sz="2000"/>
            </a:lvl7pPr>
            <a:lvl8pPr marL="3263166" indent="0">
              <a:buNone/>
              <a:defRPr sz="2000"/>
            </a:lvl8pPr>
            <a:lvl9pPr marL="372933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165" indent="0">
              <a:buNone/>
              <a:defRPr sz="1200"/>
            </a:lvl2pPr>
            <a:lvl3pPr marL="932333" indent="0">
              <a:buNone/>
              <a:defRPr sz="1000"/>
            </a:lvl3pPr>
            <a:lvl4pPr marL="1398499" indent="0">
              <a:buNone/>
              <a:defRPr sz="900"/>
            </a:lvl4pPr>
            <a:lvl5pPr marL="1864668" indent="0">
              <a:buNone/>
              <a:defRPr sz="900"/>
            </a:lvl5pPr>
            <a:lvl6pPr marL="2330834" indent="0">
              <a:buNone/>
              <a:defRPr sz="900"/>
            </a:lvl6pPr>
            <a:lvl7pPr marL="2796999" indent="0">
              <a:buNone/>
              <a:defRPr sz="900"/>
            </a:lvl7pPr>
            <a:lvl8pPr marL="3263166" indent="0">
              <a:buNone/>
              <a:defRPr sz="900"/>
            </a:lvl8pPr>
            <a:lvl9pPr marL="37293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17283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89075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0058" y="234867"/>
            <a:ext cx="615553" cy="3003007"/>
          </a:xfrm>
          <a:prstGeom prst="rect">
            <a:avLst/>
          </a:prstGeom>
        </p:spPr>
        <p:txBody>
          <a:bodyPr vert="eaVert"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7"/>
            <a:ext cx="6440486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080669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626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36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>
                <a:cs typeface="Arial" charset="0"/>
              </a:rPr>
              <a:t> </a:t>
            </a:r>
          </a:p>
        </p:txBody>
      </p:sp>
      <p:pic>
        <p:nvPicPr>
          <p:cNvPr id="4" name="Picture 9" descr="http://vaccines.procon.org/files/1-vaccines-images/vaccine_syringe_vial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48" y="5843604"/>
            <a:ext cx="1087424" cy="756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3187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41E8A38-46EC-42F1-84F8-C13E5AC8E440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6517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363" tIns="45681" rIns="91363" bIns="4568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9271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6857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42984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2080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2796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1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834036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077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86800" y="6626304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AE6E568-38DE-4287-84A6-43E35374FCAA}" type="slidenum">
              <a:rPr lang="en-US" sz="900" b="0" i="0" baseline="0" smtClean="0">
                <a:solidFill>
                  <a:schemeClr val="bg1"/>
                </a:solidFill>
              </a:rPr>
              <a:pPr algn="l"/>
              <a:t>‹nº›</a:t>
            </a:fld>
            <a:endParaRPr lang="en-US" sz="1020" b="0" i="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939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8282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5779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1C40FF7-ACBA-4626-896D-48791911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1C40FF7-ACBA-4626-896D-48791911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4"/>
            <a:ext cx="8793162" cy="311150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010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/>
              <a:t> </a:t>
            </a:r>
          </a:p>
        </p:txBody>
      </p:sp>
      <p:sp>
        <p:nvSpPr>
          <p:cNvPr id="11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30523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vmlDrawing" Target="../drawings/vmlDrawing10.v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oleObject" Target="../embeddings/oleObject10.bin"/><Relationship Id="rId10" Type="http://schemas.openxmlformats.org/officeDocument/2006/relationships/slideLayout" Target="../slideLayouts/slideLayout37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90097374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8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9" name="Rectangle 280"/>
          <p:cNvSpPr txBox="1">
            <a:spLocks noChangeArrowheads="1"/>
          </p:cNvSpPr>
          <p:nvPr userDrawn="1"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20" name="SlideLogoSeparator"/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4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11264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784" r:id="rId4"/>
    <p:sldLayoutId id="2147483785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</p:sldLayoutIdLst>
  <p:hf hd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93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96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50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marR="0" lvl="0" indent="0" algn="l" defTabSz="9122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50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50" marR="0" lvl="0" indent="-106750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096" marR="0" lvl="0" indent="-621096" algn="l" defTabSz="9122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4330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41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Title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12" y="1990737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50" y="6202374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693" marR="0" lvl="0" indent="-106693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0764" marR="0" lvl="0" indent="-620764" algn="l" defTabSz="9117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3996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3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82C518-DFAA-4ABE-B338-0C7378C1AFCB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8944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407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txStyles>
    <p:titleStyle>
      <a:lvl1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171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5822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1640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7463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3285" algn="l" defTabSz="912233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8830" indent="-3488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611" indent="-19503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576" indent="-26638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722" indent="-156974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9497" indent="-131606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016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1837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765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3479" indent="-132631" algn="l" defTabSz="9122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22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40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4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28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05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92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746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563" algn="l" defTabSz="9316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0999717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2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2240" y="26989"/>
            <a:ext cx="87630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3" y="542929"/>
            <a:ext cx="37290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3" y="6203952"/>
            <a:ext cx="8721725" cy="520760"/>
            <a:chOff x="75" y="3830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829" indent="-106829" defTabSz="91290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558" indent="-621558" defTabSz="912909" fontAlgn="base">
                <a:spcBef>
                  <a:spcPct val="0"/>
                </a:spcBef>
                <a:spcAft>
                  <a:spcPct val="0"/>
                </a:spcAft>
                <a:tabLst>
                  <a:tab pos="62479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82725" y="1072934"/>
            <a:ext cx="4349719" cy="584197"/>
            <a:chOff x="915" y="662"/>
            <a:chExt cx="2686" cy="361"/>
          </a:xfrm>
        </p:grpSpPr>
        <p:cxnSp>
          <p:nvCxnSpPr>
            <p:cNvPr id="40972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23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62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409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2305" y="1990730"/>
            <a:ext cx="822166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3" y="6202367"/>
            <a:ext cx="8721725" cy="520729"/>
            <a:chOff x="75" y="3829"/>
            <a:chExt cx="5385" cy="322"/>
          </a:xfrm>
        </p:grpSpPr>
        <p:sp>
          <p:nvSpPr>
            <p:cNvPr id="1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72" indent="-106772" defTabSz="9124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1 Footnote</a:t>
              </a:r>
            </a:p>
          </p:txBody>
        </p:sp>
        <p:sp>
          <p:nvSpPr>
            <p:cNvPr id="1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226" indent="-621226" defTabSz="912426" fontAlgn="base">
                <a:spcBef>
                  <a:spcPct val="0"/>
                </a:spcBef>
                <a:spcAft>
                  <a:spcPct val="0"/>
                </a:spcAft>
                <a:tabLst>
                  <a:tab pos="624460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17" name="Rectangle 280"/>
          <p:cNvSpPr txBox="1">
            <a:spLocks noChangeArrowheads="1"/>
          </p:cNvSpPr>
          <p:nvPr/>
        </p:nvSpPr>
        <p:spPr bwMode="gray">
          <a:xfrm>
            <a:off x="8850036" y="6634186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i="0" smtClean="0">
                <a:solidFill>
                  <a:srgbClr val="000000"/>
                </a:solidFill>
              </a:defRPr>
            </a:lvl1pPr>
          </a:lstStyle>
          <a:p>
            <a:pPr defTabSz="914303" fontAlgn="base">
              <a:spcBef>
                <a:spcPct val="0"/>
              </a:spcBef>
              <a:spcAft>
                <a:spcPct val="0"/>
              </a:spcAft>
              <a:defRPr/>
            </a:pPr>
            <a:fld id="{0782C518-DFAA-4ABE-B338-0C7378C1AFCB}" type="slidenum">
              <a:rPr lang="en-GB">
                <a:cs typeface="Arial" charset="0"/>
              </a:rPr>
              <a:pPr defTabSz="91430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GB" dirty="0">
                <a:cs typeface="Arial" charset="0"/>
              </a:rPr>
              <a:t> </a:t>
            </a: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721833" y="6602436"/>
            <a:ext cx="408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0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965143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</p:sldLayoutIdLst>
  <p:hf hdr="0" ftr="0" dt="0"/>
  <p:txStyles>
    <p:titleStyle>
      <a:lvl1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+mj-lt"/>
          <a:ea typeface="+mj-ea"/>
          <a:cs typeface="+mj-cs"/>
        </a:defRPr>
      </a:lvl1pPr>
      <a:lvl2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2pPr>
      <a:lvl3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3pPr>
      <a:lvl4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4pPr>
      <a:lvl5pPr algn="l" defTabSz="912391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5pPr>
      <a:lvl6pPr marL="466165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6pPr>
      <a:lvl7pPr marL="932333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7pPr>
      <a:lvl8pPr marL="1398499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8pPr>
      <a:lvl9pPr marL="1864668" algn="l" defTabSz="912909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</a:defRPr>
      </a:lvl9pPr>
    </p:titleStyle>
    <p:bodyStyle>
      <a:lvl1pPr marL="349089" indent="-349089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57" indent="-195174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23" indent="-266578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186" indent="-157090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061" indent="-131703" algn="l" defTabSz="9123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69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092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260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425" indent="-132729" algn="l" defTabSz="9129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65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33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4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668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834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999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166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330" algn="l" defTabSz="932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image" Target="../media/image13.gif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10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openxmlformats.org/officeDocument/2006/relationships/image" Target="../media/image12.w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0332367-FDCE-4358-A856-368433D7232C}"/>
              </a:ext>
            </a:extLst>
          </p:cNvPr>
          <p:cNvSpPr txBox="1">
            <a:spLocks/>
          </p:cNvSpPr>
          <p:nvPr/>
        </p:nvSpPr>
        <p:spPr>
          <a:xfrm>
            <a:off x="174812" y="4632075"/>
            <a:ext cx="8794375" cy="397126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n-US" sz="5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ssau, 18 de Novembro </a:t>
            </a:r>
            <a:r>
              <a:rPr lang="en-US" sz="5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2020</a:t>
            </a:r>
            <a:endParaRPr lang="fr-FR" sz="5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sz="5600" dirty="0">
              <a:solidFill>
                <a:schemeClr val="bg1"/>
              </a:solidFill>
            </a:endParaRPr>
          </a:p>
        </p:txBody>
      </p:sp>
      <p:pic>
        <p:nvPicPr>
          <p:cNvPr id="4" name="Image 18">
            <a:extLst>
              <a:ext uri="{FF2B5EF4-FFF2-40B4-BE49-F238E27FC236}">
                <a16:creationId xmlns:a16="http://schemas.microsoft.com/office/drawing/2014/main" xmlns="" id="{EDAA5086-1A21-41A9-AA9C-CC45E50700B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070" y="96424"/>
            <a:ext cx="1365117" cy="862990"/>
          </a:xfrm>
          <a:prstGeom prst="rect">
            <a:avLst/>
          </a:prstGeom>
        </p:spPr>
      </p:pic>
      <p:pic>
        <p:nvPicPr>
          <p:cNvPr id="5" name="Imagem 5">
            <a:extLst>
              <a:ext uri="{FF2B5EF4-FFF2-40B4-BE49-F238E27FC236}">
                <a16:creationId xmlns:a16="http://schemas.microsoft.com/office/drawing/2014/main" xmlns="" id="{407B0754-DB72-4722-9C5E-808E762BAED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12" y="5298140"/>
            <a:ext cx="1775012" cy="1058209"/>
          </a:xfrm>
          <a:prstGeom prst="rect">
            <a:avLst/>
          </a:prstGeom>
          <a:noFill/>
        </p:spPr>
      </p:pic>
      <p:pic>
        <p:nvPicPr>
          <p:cNvPr id="6" name="Image 7" descr="Description : OMS logo2.jpg">
            <a:extLst>
              <a:ext uri="{FF2B5EF4-FFF2-40B4-BE49-F238E27FC236}">
                <a16:creationId xmlns:a16="http://schemas.microsoft.com/office/drawing/2014/main" xmlns="" id="{85AF78DC-62CA-4E40-8BEF-F7CEDFFDCEA2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046" y="5298142"/>
            <a:ext cx="2050929" cy="105820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5">
            <a:extLst>
              <a:ext uri="{FF2B5EF4-FFF2-40B4-BE49-F238E27FC236}">
                <a16:creationId xmlns:a16="http://schemas.microsoft.com/office/drawing/2014/main" xmlns="" id="{B200E0B4-D886-4124-A363-F8359B55C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1281" y="5298141"/>
            <a:ext cx="2057906" cy="1058207"/>
          </a:xfrm>
          <a:prstGeom prst="rect">
            <a:avLst/>
          </a:prstGeom>
        </p:spPr>
      </p:pic>
      <p:pic>
        <p:nvPicPr>
          <p:cNvPr id="8" name="Image 7" descr="Description : unicef.jpg">
            <a:extLst>
              <a:ext uri="{FF2B5EF4-FFF2-40B4-BE49-F238E27FC236}">
                <a16:creationId xmlns:a16="http://schemas.microsoft.com/office/drawing/2014/main" xmlns="" id="{A4A91C44-59A7-45E7-9907-3482385C1DE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7069" y="5298141"/>
            <a:ext cx="1903013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81B4C796-5249-4895-A04A-C115F176CF4D}"/>
              </a:ext>
            </a:extLst>
          </p:cNvPr>
          <p:cNvSpPr txBox="1">
            <a:spLocks/>
          </p:cNvSpPr>
          <p:nvPr/>
        </p:nvSpPr>
        <p:spPr>
          <a:xfrm>
            <a:off x="174812" y="1093883"/>
            <a:ext cx="8794375" cy="3469071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C9D92F"/>
            </a:solidFill>
            <a:prstDash val="solid"/>
            <a:round/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pt-BR" sz="84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pt-BR" sz="12300" dirty="0">
                <a:solidFill>
                  <a:schemeClr val="tx1"/>
                </a:solidFill>
                <a:latin typeface="Arial Black" panose="020B0A04020102020204" pitchFamily="34" charset="0"/>
              </a:rPr>
              <a:t>Ata da reunião e Pontos de acção</a:t>
            </a:r>
          </a:p>
          <a:p>
            <a:pPr marL="0" indent="0" algn="ctr">
              <a:buNone/>
            </a:pPr>
            <a:endParaRPr lang="pt-BR" sz="12300" dirty="0">
              <a:solidFill>
                <a:schemeClr val="tx1"/>
              </a:solidFill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endParaRPr lang="fr-FR" sz="12300" b="1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Black" panose="020B0A04020102020204" pitchFamily="34" charset="0"/>
            </a:endParaRP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osé Gomes</a:t>
            </a:r>
          </a:p>
          <a:p>
            <a:pPr marL="0" indent="0" algn="ctr">
              <a:buNone/>
            </a:pPr>
            <a:r>
              <a:rPr lang="fr-FR" sz="9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pPr marL="0" indent="0" algn="ctr">
              <a:buNone/>
            </a:pPr>
            <a:r>
              <a:rPr lang="fr-FR" sz="8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p. Supervisão formativa e formação continua SIVE</a:t>
            </a:r>
          </a:p>
        </p:txBody>
      </p:sp>
      <p:graphicFrame>
        <p:nvGraphicFramePr>
          <p:cNvPr id="10" name="Objeto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2451879"/>
              </p:ext>
            </p:extLst>
          </p:nvPr>
        </p:nvGraphicFramePr>
        <p:xfrm>
          <a:off x="174812" y="96423"/>
          <a:ext cx="1515283" cy="862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8" name="Picture" r:id="rId8" imgW="924480" imgH="924480" progId="Word.Picture.8">
                  <p:embed/>
                </p:oleObj>
              </mc:Choice>
              <mc:Fallback>
                <p:oleObj name="Picture" r:id="rId8" imgW="924480" imgH="924480" progId="Word.Picture.8">
                  <p:embed/>
                  <p:pic>
                    <p:nvPicPr>
                      <p:cNvPr id="10" name="Objeto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 l="7423" t="3041" r="9258" b="7423"/>
                      <a:stretch>
                        <a:fillRect/>
                      </a:stretch>
                    </p:blipFill>
                    <p:spPr bwMode="auto">
                      <a:xfrm>
                        <a:off x="174812" y="96423"/>
                        <a:ext cx="1515283" cy="86299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ção do Número do Diapositivo 10"/>
          <p:cNvSpPr>
            <a:spLocks noGrp="1"/>
          </p:cNvSpPr>
          <p:nvPr>
            <p:ph type="sldNum" sz="quarter" idx="4294967295"/>
          </p:nvPr>
        </p:nvSpPr>
        <p:spPr>
          <a:xfrm>
            <a:off x="640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F13ED3-0FDC-44D4-B51E-F13C458473BF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9811F09F-A8CE-4249-8F00-BCF4F1BCD7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66883" y="96424"/>
            <a:ext cx="1277470" cy="86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4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34096" y="412007"/>
            <a:ext cx="7662930" cy="988629"/>
          </a:xfrm>
        </p:spPr>
        <p:txBody>
          <a:bodyPr/>
          <a:lstStyle/>
          <a:p>
            <a:pPr algn="ctr"/>
            <a:r>
              <a:rPr lang="pt-PT" dirty="0" smtClean="0"/>
              <a:t/>
            </a:r>
            <a:br>
              <a:rPr lang="pt-PT" dirty="0" smtClean="0"/>
            </a:br>
            <a:r>
              <a:rPr lang="pt-PT" sz="3200" dirty="0" smtClean="0"/>
              <a:t>Ata </a:t>
            </a:r>
            <a:r>
              <a:rPr lang="pt-PT" sz="3200" dirty="0"/>
              <a:t>da reunião </a:t>
            </a:r>
            <a:r>
              <a:rPr lang="pt-PT" sz="3200" dirty="0" smtClean="0"/>
              <a:t>CCIA  </a:t>
            </a:r>
            <a:br>
              <a:rPr lang="pt-PT" sz="3200" dirty="0" smtClean="0"/>
            </a:br>
            <a:r>
              <a:rPr lang="pt-PT" sz="3200" dirty="0" smtClean="0"/>
              <a:t/>
            </a:r>
            <a:br>
              <a:rPr lang="pt-PT" sz="3200" dirty="0" smtClean="0"/>
            </a:br>
            <a:r>
              <a:rPr lang="pt-PT" dirty="0"/>
              <a:t/>
            </a:r>
            <a:br>
              <a:rPr lang="pt-PT" dirty="0"/>
            </a:br>
            <a:endParaRPr lang="pt-PT" dirty="0"/>
          </a:p>
        </p:txBody>
      </p:sp>
      <p:sp>
        <p:nvSpPr>
          <p:cNvPr id="4" name="CaixaDeTexto 3"/>
          <p:cNvSpPr txBox="1"/>
          <p:nvPr/>
        </p:nvSpPr>
        <p:spPr>
          <a:xfrm>
            <a:off x="425003" y="1400636"/>
            <a:ext cx="766292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PT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 smtClean="0"/>
              <a:t>DATA</a:t>
            </a:r>
            <a:r>
              <a:rPr lang="pt-PT" sz="2000" dirty="0" smtClean="0"/>
              <a:t> - 31.01. 2020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 smtClean="0"/>
              <a:t> LOCAL </a:t>
            </a:r>
            <a:r>
              <a:rPr lang="pt-PT" sz="2000" dirty="0" smtClean="0"/>
              <a:t>- </a:t>
            </a:r>
            <a:r>
              <a:rPr lang="pt-BR" sz="2000" dirty="0"/>
              <a:t>Sala de Conferencia </a:t>
            </a:r>
            <a:r>
              <a:rPr lang="pt-BR" sz="2000" dirty="0" smtClean="0"/>
              <a:t>do SIV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 smtClean="0"/>
              <a:t>Presidente</a:t>
            </a:r>
            <a:r>
              <a:rPr lang="pt-PT" sz="2000" dirty="0" smtClean="0"/>
              <a:t> - </a:t>
            </a:r>
            <a:r>
              <a:rPr lang="pt-BR" sz="2000" dirty="0"/>
              <a:t>Ministra de Saude </a:t>
            </a:r>
            <a:r>
              <a:rPr lang="pt-BR" sz="2000" dirty="0" smtClean="0"/>
              <a:t>Public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000" dirty="0"/>
          </a:p>
          <a:p>
            <a:r>
              <a:rPr lang="pt-BR" sz="20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000" b="1" dirty="0" smtClean="0"/>
              <a:t>Moderador</a:t>
            </a:r>
            <a:r>
              <a:rPr lang="pt-PT" sz="2000" dirty="0" smtClean="0"/>
              <a:t> – </a:t>
            </a:r>
            <a:r>
              <a:rPr lang="pt-BR" sz="2000" dirty="0" smtClean="0"/>
              <a:t>DGSMI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2400" b="1" dirty="0"/>
              <a:t>Quórum (60% </a:t>
            </a:r>
            <a:r>
              <a:rPr lang="pt-PT" sz="2400" b="1" dirty="0" smtClean="0"/>
              <a:t>dos membros)</a:t>
            </a:r>
            <a:r>
              <a:rPr lang="pt-PT" sz="2400" dirty="0" smtClean="0"/>
              <a:t> </a:t>
            </a:r>
            <a:r>
              <a:rPr lang="pt-PT" sz="2400" dirty="0"/>
              <a:t>= 14/23 membr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02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13918" y="478007"/>
            <a:ext cx="7451288" cy="615553"/>
          </a:xfrm>
        </p:spPr>
        <p:txBody>
          <a:bodyPr anchor="b"/>
          <a:lstStyle/>
          <a:p>
            <a:pPr algn="ctr"/>
            <a:r>
              <a:rPr lang="pt-PT" i="1" dirty="0" smtClean="0"/>
              <a:t/>
            </a:r>
            <a:br>
              <a:rPr lang="pt-PT" i="1" dirty="0" smtClean="0"/>
            </a:br>
            <a:r>
              <a:rPr lang="pt-PT" sz="3600" i="1" dirty="0" smtClean="0"/>
              <a:t>Ordem </a:t>
            </a:r>
            <a:r>
              <a:rPr lang="pt-PT" sz="3600" i="1" dirty="0"/>
              <a:t>do </a:t>
            </a:r>
            <a:r>
              <a:rPr lang="pt-PT" sz="3600" i="1" dirty="0" smtClean="0"/>
              <a:t>dia</a:t>
            </a:r>
            <a:endParaRPr lang="pt-PT" sz="3600" dirty="0"/>
          </a:p>
        </p:txBody>
      </p:sp>
      <p:sp>
        <p:nvSpPr>
          <p:cNvPr id="3" name="Retângulo 2"/>
          <p:cNvSpPr/>
          <p:nvPr/>
        </p:nvSpPr>
        <p:spPr>
          <a:xfrm>
            <a:off x="579549" y="1093560"/>
            <a:ext cx="795914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PT" b="1" dirty="0"/>
          </a:p>
          <a:p>
            <a:endParaRPr lang="pt-PT" b="1" cap="all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Analisar e aprovar a ata da reunião </a:t>
            </a:r>
            <a:r>
              <a:rPr lang="pt-PT" sz="2000" b="1" dirty="0" smtClean="0"/>
              <a:t>anterior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Avaliar o estado dos pontos de ação da reunião </a:t>
            </a:r>
            <a:r>
              <a:rPr lang="pt-PT" sz="2000" b="1" dirty="0" smtClean="0"/>
              <a:t>anterior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relatório de avaliação </a:t>
            </a:r>
            <a:r>
              <a:rPr lang="pt-PT" sz="2000" b="1" dirty="0" smtClean="0"/>
              <a:t>conjunta 2019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plano de preparação e resposta á epidemia de </a:t>
            </a:r>
            <a:r>
              <a:rPr lang="pt-PT" sz="2000" b="1" dirty="0" smtClean="0"/>
              <a:t>sarampo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aprovar o plano de eliminação de epidemia de febre </a:t>
            </a:r>
            <a:r>
              <a:rPr lang="pt-PT" sz="2000" b="1" dirty="0" smtClean="0"/>
              <a:t>amarela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scutir e aprovar o plano operacional anual do </a:t>
            </a:r>
            <a:r>
              <a:rPr lang="pt-PT" sz="2000" b="1" dirty="0" smtClean="0"/>
              <a:t>SIVE 2020;</a:t>
            </a:r>
          </a:p>
          <a:p>
            <a:pPr marL="342900" indent="-342900">
              <a:buFont typeface="+mj-lt"/>
              <a:buAutoNum type="arabicPeriod"/>
            </a:pPr>
            <a:endParaRPr lang="pt-PT" sz="2000" b="1" dirty="0"/>
          </a:p>
          <a:p>
            <a:pPr marL="342900" indent="-342900">
              <a:buFont typeface="+mj-lt"/>
              <a:buAutoNum type="arabicPeriod"/>
            </a:pPr>
            <a:r>
              <a:rPr lang="pt-PT" sz="2000" b="1" dirty="0"/>
              <a:t>Diversos</a:t>
            </a:r>
            <a:endParaRPr lang="pt-PT" sz="2000" dirty="0"/>
          </a:p>
        </p:txBody>
      </p:sp>
    </p:spTree>
    <p:extLst>
      <p:ext uri="{BB962C8B-B14F-4D97-AF65-F5344CB8AC3E}">
        <p14:creationId xmlns:p14="http://schemas.microsoft.com/office/powerpoint/2010/main" val="225435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260622"/>
            <a:ext cx="8201905" cy="834082"/>
          </a:xfrm>
        </p:spPr>
        <p:txBody>
          <a:bodyPr/>
          <a:lstStyle/>
          <a:p>
            <a:pPr algn="ctr"/>
            <a:r>
              <a:rPr lang="pt-PT" i="1" dirty="0" smtClean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63105"/>
              </p:ext>
            </p:extLst>
          </p:nvPr>
        </p:nvGraphicFramePr>
        <p:xfrm>
          <a:off x="121490" y="798493"/>
          <a:ext cx="8889160" cy="571383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62764"/>
                <a:gridCol w="2417707"/>
                <a:gridCol w="3108689"/>
              </a:tblGrid>
              <a:tr h="622040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125596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dirty="0" smtClean="0">
                          <a:solidFill>
                            <a:schemeClr val="tx1"/>
                          </a:solidFill>
                        </a:rPr>
                        <a:t>Elaboração de um Canevá </a:t>
                      </a:r>
                      <a:r>
                        <a:rPr lang="pt-PT" sz="1400" b="0" dirty="0" smtClean="0">
                          <a:solidFill>
                            <a:schemeClr val="tx1"/>
                          </a:solidFill>
                        </a:rPr>
                        <a:t>e</a:t>
                      </a:r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alização de um atelier integrando todos os programas do MINSAP para apresentaçao do formato e os procedimentos administrativos. </a:t>
                      </a:r>
                      <a:endParaRPr lang="pt-PT" sz="14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 meses</a:t>
                      </a:r>
                      <a:endParaRPr lang="pt-PT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i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lizad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vid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a Pandemia 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vid 19</a:t>
                      </a:r>
                      <a:endParaRPr lang="pt-PT" sz="18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 anchor="ctr">
                    <a:solidFill>
                      <a:srgbClr val="FF0000"/>
                    </a:solidFill>
                  </a:tcPr>
                </a:tc>
              </a:tr>
              <a:tr h="71090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menção não só dos números dos</a:t>
                      </a:r>
                      <a:r>
                        <a:rPr lang="pt-BR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icipantes,</a:t>
                      </a:r>
                      <a:r>
                        <a:rPr lang="pt-BR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o também os respeitivos nomes e perfis.</a:t>
                      </a:r>
                      <a:endParaRPr lang="pt-PT" sz="14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nhuma atividade de formação foi realizada 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71090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 smtClean="0"/>
                        <a:t>Instituição de um grupo interministerial para harmonização de dados da população (definição do denominad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800" b="1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ês</a:t>
                      </a:r>
                      <a:endParaRPr lang="pt-PT" sz="18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i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lizad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vido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demia Covid 19</a:t>
                      </a:r>
                      <a:endParaRPr lang="pt-PT" sz="1800" b="1" kern="1200" noProof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1080875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mendação de transferência de  fundos para as contas  bancarias do programa</a:t>
                      </a:r>
                    </a:p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800" b="1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</a:t>
                      </a:r>
                      <a:r>
                        <a:rPr lang="en-US" sz="1800" b="1" dirty="0" err="1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ediato</a:t>
                      </a:r>
                      <a:endParaRPr lang="pt-PT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13335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1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vio</a:t>
                      </a:r>
                      <a:r>
                        <a:rPr lang="pt-PT" sz="1600" b="1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de o</a:t>
                      </a:r>
                      <a:r>
                        <a:rPr lang="pt-PT" sz="1600" b="1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icio a DGASS,</a:t>
                      </a:r>
                      <a:r>
                        <a:rPr lang="pt-PT" sz="1600" b="1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udança de fax-mil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 espera de novas orientações do MINSAP</a:t>
                      </a:r>
                    </a:p>
                  </a:txBody>
                  <a:tcPr marL="13335" marR="13335" marT="13335" marB="13335">
                    <a:solidFill>
                      <a:srgbClr val="FF0000"/>
                    </a:solidFill>
                  </a:tcPr>
                </a:tc>
              </a:tr>
              <a:tr h="1332942">
                <a:tc>
                  <a:txBody>
                    <a:bodyPr/>
                    <a:lstStyle/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noProof="0" dirty="0" smtClean="0"/>
                    </a:p>
                    <a:p>
                      <a:pPr marL="0" marR="0" lvl="0" indent="0" algn="l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 smtClean="0"/>
                        <a:t>Documentação do processo de busca de estrategia  de vacinação meio urbano</a:t>
                      </a:r>
                    </a:p>
                    <a:p>
                      <a:endParaRPr lang="pt-PT" sz="1400" dirty="0" smtClean="0"/>
                    </a:p>
                    <a:p>
                      <a:endParaRPr lang="pt-PT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</a:t>
                      </a: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ediato</a:t>
                      </a:r>
                      <a:endParaRPr lang="pt-PT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8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so do recrutamento do ATI</a:t>
                      </a:r>
                      <a:r>
                        <a:rPr lang="pt-PT" sz="1800" b="1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pt-PT" sz="18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7780" marR="17780" marT="17780" marB="17780" anchor="ctr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429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118955"/>
            <a:ext cx="8816451" cy="576504"/>
          </a:xfrm>
        </p:spPr>
        <p:txBody>
          <a:bodyPr/>
          <a:lstStyle/>
          <a:p>
            <a:pPr algn="ctr"/>
            <a:r>
              <a:rPr lang="pt-PT" i="1" dirty="0" smtClean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974413"/>
              </p:ext>
            </p:extLst>
          </p:nvPr>
        </p:nvGraphicFramePr>
        <p:xfrm>
          <a:off x="257175" y="1119223"/>
          <a:ext cx="8680765" cy="559590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610383"/>
                <a:gridCol w="1925575"/>
                <a:gridCol w="3144807"/>
              </a:tblGrid>
              <a:tr h="810542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799033">
                <a:tc>
                  <a:txBody>
                    <a:bodyPr/>
                    <a:lstStyle/>
                    <a:p>
                      <a:pPr algn="just"/>
                      <a:r>
                        <a:rPr lang="pt-PT" sz="1400" noProof="0" dirty="0" smtClean="0"/>
                        <a:t>Recrutamento</a:t>
                      </a:r>
                      <a:r>
                        <a:rPr lang="pt-PT" sz="1400" baseline="0" noProof="0" dirty="0" smtClean="0"/>
                        <a:t> de pessoal para o programa  </a:t>
                      </a:r>
                      <a:endParaRPr lang="pt-PT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DR elaborado, pessoal identificado,  pedido entregue ao MINSAP 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568935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 smtClean="0"/>
                        <a:t>Elaboração de politica nacional de vacinação</a:t>
                      </a:r>
                      <a:endParaRPr lang="pt-PT" sz="1400" noProof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DR  elaborado e carta de solicitação enviado ao parceiro</a:t>
                      </a:r>
                      <a:endParaRPr lang="pt-PT" sz="160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1124565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noProof="0" dirty="0" smtClean="0"/>
                        <a:t>Fornecimento de informações sobre</a:t>
                      </a:r>
                      <a:r>
                        <a:rPr lang="pt-PT" sz="1400" baseline="0" noProof="0" dirty="0" smtClean="0"/>
                        <a:t> evolução e</a:t>
                      </a:r>
                      <a:r>
                        <a:rPr lang="pt-PT" sz="1400" noProof="0" dirty="0" smtClean="0"/>
                        <a:t> medidas preventivas da epidemia do coronavírus incluindo</a:t>
                      </a:r>
                      <a:r>
                        <a:rPr lang="pt-PT" sz="1400" baseline="0" noProof="0" dirty="0" smtClean="0"/>
                        <a:t> a elaboração de um plano de contingência para fazer face a um eventual flagel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o de contingência  elaborado</a:t>
                      </a:r>
                      <a:r>
                        <a:rPr lang="pt-PT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lo COES</a:t>
                      </a:r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1272534">
                <a:tc rowSpan="2"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 smtClean="0"/>
                        <a:t>Pedido de esclarecimento sobre cofinanciamento para compra vacinas tradicionais</a:t>
                      </a:r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 smtClean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 smtClean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baseline="0" noProof="0" dirty="0" smtClean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aseline="0" noProof="0" dirty="0" smtClean="0"/>
                        <a:t>assistência técnica para reparação e instalação de incineradores</a:t>
                      </a:r>
                    </a:p>
                    <a:p>
                      <a:pPr algn="just"/>
                      <a:endParaRPr lang="pt-PT" sz="1400" noProof="0" dirty="0" smtClean="0"/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financiamento processo em curso: Uma carta enviada ao M.F. pedindo o financiamento. falta o titulo para o desembolso de fundo</a:t>
                      </a:r>
                      <a:endParaRPr lang="pt-PT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829318">
                <a:tc vMerge="1">
                  <a:txBody>
                    <a:bodyPr/>
                    <a:lstStyle/>
                    <a:p>
                      <a:pPr algn="just"/>
                      <a:endParaRPr lang="pt-PT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ineradora - chegada do consultor prevista para final do mês</a:t>
                      </a:r>
                      <a:endParaRPr lang="pt-PT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353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489" y="118955"/>
            <a:ext cx="8816451" cy="576504"/>
          </a:xfrm>
        </p:spPr>
        <p:txBody>
          <a:bodyPr/>
          <a:lstStyle/>
          <a:p>
            <a:pPr algn="ctr"/>
            <a:r>
              <a:rPr lang="pt-PT" i="1" dirty="0" smtClean="0"/>
              <a:t>RECOMENDAÇÕES</a:t>
            </a:r>
            <a:endParaRPr lang="pt-PT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707737"/>
              </p:ext>
            </p:extLst>
          </p:nvPr>
        </p:nvGraphicFramePr>
        <p:xfrm>
          <a:off x="121489" y="900981"/>
          <a:ext cx="8919480" cy="46762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709667"/>
                <a:gridCol w="1978527"/>
                <a:gridCol w="3231286"/>
              </a:tblGrid>
              <a:tr h="800663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STÕES</a:t>
                      </a:r>
                      <a:r>
                        <a:rPr lang="en-US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RDADAS</a:t>
                      </a:r>
                      <a:endParaRPr lang="pt-PT" sz="18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  <a:p>
                      <a:pPr algn="ctr"/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OS DE AÇÃO</a:t>
                      </a:r>
                      <a:endParaRPr lang="pt-PT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594006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não implementação da politica de frascos abertos como uma das causas de baixas coberturas vacinais e elevadas taxas de abando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existência do documento da politica de frasco aberto</a:t>
                      </a:r>
                      <a:r>
                        <a:rPr lang="pt-PT" sz="18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pt-PT" sz="1800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1009650"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tradução de documentos estratégicos do francês para o portuguê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pt-PT" sz="1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s documentos estratégicos elaborados no ano 2020 tem sido traduzidos</a:t>
                      </a:r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1271980">
                <a:tc>
                  <a:txBody>
                    <a:bodyPr/>
                    <a:lstStyle/>
                    <a:p>
                      <a:pPr marL="0" algn="just" defTabSz="932333" rtl="0" eaLnBrk="1" latinLnBrk="0" hangingPunct="1"/>
                      <a:endParaRPr lang="pt-PT" sz="1800" kern="1200" baseline="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/>
                      <a:r>
                        <a:rPr lang="pt-PT" sz="18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ção de atas de reunião do CCIA no prazo de uma semana</a:t>
                      </a:r>
                      <a:endParaRPr lang="pt-PT" sz="180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just" defTabSz="932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Semana</a:t>
                      </a:r>
                      <a:endParaRPr lang="pt-PT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/>
                      <a:endParaRPr lang="pt-PT" sz="18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en-US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32333" rtl="0" eaLnBrk="1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 produzida </a:t>
                      </a:r>
                      <a:r>
                        <a:rPr lang="pt-PT" sz="18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 enviada aos membros</a:t>
                      </a:r>
                      <a:endParaRPr lang="pt-PT" sz="180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094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98490" y="234864"/>
            <a:ext cx="7469747" cy="1156054"/>
          </a:xfrm>
        </p:spPr>
        <p:txBody>
          <a:bodyPr anchor="ctr"/>
          <a:lstStyle/>
          <a:p>
            <a:pPr algn="ctr"/>
            <a:r>
              <a:rPr lang="pt-PT" sz="28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ocumentos validados com </a:t>
            </a:r>
            <a:r>
              <a:rPr lang="pt-PT" sz="28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endas</a:t>
            </a:r>
            <a:endParaRPr lang="pt-PT" sz="2800" dirty="0">
              <a:solidFill>
                <a:schemeClr val="tx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29418" y="1547193"/>
            <a:ext cx="7778253" cy="46269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>
              <a:spcBef>
                <a:spcPts val="900"/>
              </a:spcBef>
              <a:spcAft>
                <a:spcPts val="800"/>
              </a:spcAft>
            </a:pPr>
            <a:endParaRPr lang="pt-PT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a da reunião anterior de CCIA</a:t>
            </a: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ntos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 ação da reunião anterior; </a:t>
            </a:r>
          </a:p>
          <a:p>
            <a:pPr marL="285750" lvl="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latório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 avaliação conjunta MINSAP/GAVI/OMS/UNICEF 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19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 outros parceiros de 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mplementação;</a:t>
            </a: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no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 preparação e resposta à epidemia de sarampo;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no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 eliminação de epidemia de febre 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marela 2019;</a:t>
            </a: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pt-PT" sz="2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no </a:t>
            </a:r>
            <a:r>
              <a:rPr lang="pt-PT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peracional anual do SIVE </a:t>
            </a:r>
            <a:r>
              <a:rPr lang="pt-PT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0</a:t>
            </a:r>
            <a:r>
              <a:rPr lang="pt-PT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pt-PT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29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2732" y="1532587"/>
            <a:ext cx="7662929" cy="3747752"/>
          </a:xfrm>
        </p:spPr>
        <p:txBody>
          <a:bodyPr anchor="ctr"/>
          <a:lstStyle/>
          <a:p>
            <a:pPr algn="ctr"/>
            <a:r>
              <a:rPr lang="pt-PT" dirty="0" smtClean="0"/>
              <a:t/>
            </a:r>
            <a:br>
              <a:rPr lang="pt-PT" dirty="0" smtClean="0"/>
            </a:br>
            <a:r>
              <a:rPr lang="pt-PT" dirty="0" smtClean="0"/>
              <a:t/>
            </a:r>
            <a:br>
              <a:rPr lang="pt-PT" dirty="0" smtClean="0"/>
            </a:br>
            <a:r>
              <a:rPr lang="pt-PT" dirty="0" smtClean="0"/>
              <a:t>OBRIGADO PELA ATENÇÃO</a:t>
            </a:r>
            <a:r>
              <a:rPr lang="pt-PT" dirty="0"/>
              <a:t/>
            </a:r>
            <a:br>
              <a:rPr lang="pt-PT" dirty="0"/>
            </a:br>
            <a:r>
              <a:rPr lang="pt-PT" dirty="0" smtClean="0"/>
              <a:t/>
            </a:r>
            <a:br>
              <a:rPr lang="pt-PT" dirty="0" smtClean="0"/>
            </a:br>
            <a:r>
              <a:rPr lang="pt-PT" dirty="0"/>
              <a:t/>
            </a:r>
            <a:br>
              <a:rPr lang="pt-PT" dirty="0"/>
            </a:br>
            <a:r>
              <a:rPr lang="pt-PT" dirty="0"/>
              <a:t/>
            </a:r>
            <a:br>
              <a:rPr lang="pt-PT" dirty="0"/>
            </a:br>
            <a:r>
              <a:rPr lang="pt-PT" dirty="0" smtClean="0"/>
              <a:t/>
            </a:r>
            <a:br>
              <a:rPr lang="pt-PT" dirty="0" smtClean="0"/>
            </a:b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919974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2TAglEE6PyODkoH5t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Pn8gMgTESDD2Eck_Sz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_Theme3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91440" bIns="45720" numCol="1" rtlCol="0" anchor="t" anchorCtr="0" compatLnSpc="1">
        <a:prstTxWarp prst="textNoShape">
          <a:avLst/>
        </a:prstTxWarp>
        <a:spAutoFit/>
      </a:bodyPr>
      <a:lstStyle>
        <a:defPPr marL="182880" marR="0" indent="-182880" algn="l" defTabSz="895255" rtl="0" eaLnBrk="1" fontAlgn="base" latinLnBrk="0" hangingPunct="1">
          <a:lnSpc>
            <a:spcPct val="100000"/>
          </a:lnSpc>
          <a:spcBef>
            <a:spcPts val="200"/>
          </a:spcBef>
          <a:spcAft>
            <a:spcPts val="200"/>
          </a:spcAft>
          <a:buClr>
            <a:srgbClr val="204024"/>
          </a:buClr>
          <a:buSzPct val="101000"/>
          <a:buFont typeface="Wingdings" pitchFamily="2" charset="2"/>
          <a:buChar char="§"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Solina 1">
  <a:themeElements>
    <a:clrScheme name="Custom 4">
      <a:dk1>
        <a:srgbClr val="000000"/>
      </a:dk1>
      <a:lt1>
        <a:srgbClr val="FFFFFF"/>
      </a:lt1>
      <a:dk2>
        <a:srgbClr val="204024"/>
      </a:dk2>
      <a:lt2>
        <a:srgbClr val="FFFFFF"/>
      </a:lt2>
      <a:accent1>
        <a:srgbClr val="F5FBBC"/>
      </a:accent1>
      <a:accent2>
        <a:srgbClr val="E6F559"/>
      </a:accent2>
      <a:accent3>
        <a:srgbClr val="FFFFFF"/>
      </a:accent3>
      <a:accent4>
        <a:srgbClr val="000000"/>
      </a:accent4>
      <a:accent5>
        <a:srgbClr val="E0EDFD"/>
      </a:accent5>
      <a:accent6>
        <a:srgbClr val="ACE6B6"/>
      </a:accent6>
      <a:hlink>
        <a:srgbClr val="00B050"/>
      </a:hlink>
      <a:folHlink>
        <a:srgbClr val="20402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133350" indent="-137160" defTabSz="787400">
          <a:buClr>
            <a:schemeClr val="tx2"/>
          </a:buClr>
          <a:buSzPct val="125000"/>
          <a:buFont typeface="Arial" pitchFamily="34" charset="0"/>
          <a:buChar char="•"/>
          <a:defRPr dirty="0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4FEB8"/>
        </a:solidFill>
        <a:ln>
          <a:solidFill>
            <a:schemeClr val="bg1">
              <a:lumMod val="85000"/>
            </a:schemeClr>
          </a:solidFill>
          <a:prstDash val="dashDot"/>
        </a:ln>
      </a:spPr>
      <a:bodyPr wrap="square" lIns="72000" tIns="72000" rIns="72000" bIns="72000" rtlCol="0">
        <a:noAutofit/>
      </a:bodyPr>
      <a:lstStyle>
        <a:defPPr>
          <a:defRPr sz="1200" b="1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4" id="{9491E5FA-3594-4160-B465-8C4E298E5991}" vid="{A61715D2-EC3C-4E52-8A04-97C6D5910F4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173</TotalTime>
  <Words>512</Words>
  <Application>Microsoft Office PowerPoint</Application>
  <PresentationFormat>Apresentação no Ecrã (4:3)</PresentationFormat>
  <Paragraphs>107</Paragraphs>
  <Slides>8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8</vt:i4>
      </vt:variant>
    </vt:vector>
  </HeadingPairs>
  <TitlesOfParts>
    <vt:vector size="18" baseType="lpstr">
      <vt:lpstr>Arial</vt:lpstr>
      <vt:lpstr>Arial Black</vt:lpstr>
      <vt:lpstr>Calibri</vt:lpstr>
      <vt:lpstr>Times New Roman</vt:lpstr>
      <vt:lpstr>Wingdings</vt:lpstr>
      <vt:lpstr>Default Theme</vt:lpstr>
      <vt:lpstr>8_Theme3</vt:lpstr>
      <vt:lpstr>10_Solina 1</vt:lpstr>
      <vt:lpstr>think-cell Slide</vt:lpstr>
      <vt:lpstr>Picture</vt:lpstr>
      <vt:lpstr>Apresentação do PowerPoint</vt:lpstr>
      <vt:lpstr> Ata da reunião CCIA     </vt:lpstr>
      <vt:lpstr> Ordem do dia</vt:lpstr>
      <vt:lpstr>RECOMENDAÇÕES</vt:lpstr>
      <vt:lpstr>RECOMENDAÇÕES</vt:lpstr>
      <vt:lpstr>RECOMENDAÇÕES</vt:lpstr>
      <vt:lpstr>Documentos validados com emendas</vt:lpstr>
      <vt:lpstr>  OBRIGADO PELA ATENÇÃO  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Agada</dc:creator>
  <cp:lastModifiedBy>Ivone</cp:lastModifiedBy>
  <cp:revision>350</cp:revision>
  <dcterms:created xsi:type="dcterms:W3CDTF">2020-08-26T13:28:36Z</dcterms:created>
  <dcterms:modified xsi:type="dcterms:W3CDTF">2020-11-17T19:00:49Z</dcterms:modified>
</cp:coreProperties>
</file>